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411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layout – Dark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E7A6FDB-AE2B-4B41-B096-DB84BF4B23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3389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E7A6FDB-AE2B-4B41-B096-DB84BF4B2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">
            <a:extLst>
              <a:ext uri="{FF2B5EF4-FFF2-40B4-BE49-F238E27FC236}">
                <a16:creationId xmlns:a16="http://schemas.microsoft.com/office/drawing/2014/main" id="{3D412533-33BE-4B1C-BAE4-AE62C8721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2950" y="4572119"/>
            <a:ext cx="10001250" cy="1354217"/>
          </a:xfrm>
        </p:spPr>
        <p:txBody>
          <a:bodyPr vert="horz" wrap="square" anchor="b">
            <a:no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divider page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8D4A9BE0-5D90-2363-E645-CB53F9712004}"/>
              </a:ext>
            </a:extLst>
          </p:cNvPr>
          <p:cNvSpPr/>
          <p:nvPr userDrawn="1"/>
        </p:nvSpPr>
        <p:spPr>
          <a:xfrm>
            <a:off x="14885982" y="8039100"/>
            <a:ext cx="2687643" cy="1004507"/>
          </a:xfrm>
          <a:custGeom>
            <a:avLst/>
            <a:gdLst/>
            <a:ahLst/>
            <a:cxnLst/>
            <a:rect l="l" t="t" r="r" b="b"/>
            <a:pathLst>
              <a:path w="7315200" h="2734056">
                <a:moveTo>
                  <a:pt x="0" y="0"/>
                </a:moveTo>
                <a:lnTo>
                  <a:pt x="7315200" y="0"/>
                </a:lnTo>
                <a:lnTo>
                  <a:pt x="7315200" y="2734056"/>
                </a:lnTo>
                <a:lnTo>
                  <a:pt x="0" y="273405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FF37D08-9A37-788A-96EF-444B6F6B374E}"/>
              </a:ext>
            </a:extLst>
          </p:cNvPr>
          <p:cNvGrpSpPr/>
          <p:nvPr userDrawn="1"/>
        </p:nvGrpSpPr>
        <p:grpSpPr>
          <a:xfrm>
            <a:off x="742951" y="6057900"/>
            <a:ext cx="10681072" cy="540000"/>
            <a:chOff x="742951" y="6057900"/>
            <a:chExt cx="10681072" cy="540000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BB89BE6-FA15-46E7-8C3B-74F373B71FC8}"/>
                </a:ext>
              </a:extLst>
            </p:cNvPr>
            <p:cNvSpPr/>
            <p:nvPr userDrawn="1"/>
          </p:nvSpPr>
          <p:spPr>
            <a:xfrm>
              <a:off x="742951" y="6293611"/>
              <a:ext cx="10313665" cy="685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70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3E959C7-EEDC-9314-DBE0-EB3F55F98F5A}"/>
                </a:ext>
              </a:extLst>
            </p:cNvPr>
            <p:cNvSpPr/>
            <p:nvPr userDrawn="1"/>
          </p:nvSpPr>
          <p:spPr>
            <a:xfrm>
              <a:off x="10884023" y="6057900"/>
              <a:ext cx="540000" cy="5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5DA13FA-3B37-43B3-F9A0-EACA234E4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773525" y="9501500"/>
            <a:ext cx="800100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9717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3F385-E828-5436-7C93-9707EE8814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7EA2AB-1AB1-979A-AE21-268A7EDEC1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2950" y="4572119"/>
            <a:ext cx="11601450" cy="1354217"/>
          </a:xfrm>
        </p:spPr>
        <p:txBody>
          <a:bodyPr/>
          <a:lstStyle/>
          <a:p>
            <a:r>
              <a:rPr lang="en-US" dirty="0"/>
              <a:t>Case Stud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2C8D88-6BF1-5D03-4128-F5C1C46888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019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9</TotalTime>
  <Words>3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Case Stud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60</cp:revision>
  <dcterms:created xsi:type="dcterms:W3CDTF">2006-08-16T00:00:00Z</dcterms:created>
  <dcterms:modified xsi:type="dcterms:W3CDTF">2025-10-06T10:46:02Z</dcterms:modified>
  <cp:category/>
  <dc:identifier>DAGkDf5R9EM</dc:identifier>
</cp:coreProperties>
</file>